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00" autoAdjust="0"/>
    <p:restoredTop sz="94660"/>
  </p:normalViewPr>
  <p:slideViewPr>
    <p:cSldViewPr snapToGrid="0" snapToObjects="1">
      <p:cViewPr varScale="1">
        <p:scale>
          <a:sx n="100" d="100"/>
          <a:sy n="100" d="100"/>
        </p:scale>
        <p:origin x="-642" y="-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0.xml><?xml version="1.0" encoding="utf-8"?>
<a:theme xmlns:a="http://schemas.openxmlformats.org/drawingml/2006/main" name="141030 Hogan-Douglas Meeting v0.4">
  <a:themeElements>
    <a:clrScheme name="Etihad_New_Brand_Colors_2014">
      <a:dk1>
        <a:srgbClr val="1C0010"/>
      </a:dk1>
      <a:lt1>
        <a:srgbClr val="B68116"/>
      </a:lt1>
      <a:dk2>
        <a:srgbClr val="FCFBF3"/>
      </a:dk2>
      <a:lt2>
        <a:srgbClr val="FFFFFE"/>
      </a:lt2>
      <a:accent1>
        <a:srgbClr val="E3B40F"/>
      </a:accent1>
      <a:accent2>
        <a:srgbClr val="3D3430"/>
      </a:accent2>
      <a:accent3>
        <a:srgbClr val="5E0C53"/>
      </a:accent3>
      <a:accent4>
        <a:srgbClr val="4B6C27"/>
      </a:accent4>
      <a:accent5>
        <a:srgbClr val="731624"/>
      </a:accent5>
      <a:accent6>
        <a:srgbClr val="08468A"/>
      </a:accent6>
      <a:hlink>
        <a:srgbClr val="3F150C"/>
      </a:hlink>
      <a:folHlink>
        <a:srgbClr val="E3B4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1_Office Theme">
  <a:themeElements>
    <a:clrScheme name="Etihad_New_Brand_Colors_2014">
      <a:dk1>
        <a:srgbClr val="1C0010"/>
      </a:dk1>
      <a:lt1>
        <a:srgbClr val="B68116"/>
      </a:lt1>
      <a:dk2>
        <a:srgbClr val="FCFBF3"/>
      </a:dk2>
      <a:lt2>
        <a:srgbClr val="FFFFFE"/>
      </a:lt2>
      <a:accent1>
        <a:srgbClr val="E3B40F"/>
      </a:accent1>
      <a:accent2>
        <a:srgbClr val="3D3430"/>
      </a:accent2>
      <a:accent3>
        <a:srgbClr val="5E0C53"/>
      </a:accent3>
      <a:accent4>
        <a:srgbClr val="4B6C27"/>
      </a:accent4>
      <a:accent5>
        <a:srgbClr val="731624"/>
      </a:accent5>
      <a:accent6>
        <a:srgbClr val="08468A"/>
      </a:accent6>
      <a:hlink>
        <a:srgbClr val="3F150C"/>
      </a:hlink>
      <a:folHlink>
        <a:srgbClr val="E3B4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Etihad_New_Brand_Colors_2014">
      <a:dk1>
        <a:srgbClr val="1C0010"/>
      </a:dk1>
      <a:lt1>
        <a:srgbClr val="B68116"/>
      </a:lt1>
      <a:dk2>
        <a:srgbClr val="FCFBF3"/>
      </a:dk2>
      <a:lt2>
        <a:srgbClr val="FFFFFE"/>
      </a:lt2>
      <a:accent1>
        <a:srgbClr val="E3B40F"/>
      </a:accent1>
      <a:accent2>
        <a:srgbClr val="3D3430"/>
      </a:accent2>
      <a:accent3>
        <a:srgbClr val="5E0C53"/>
      </a:accent3>
      <a:accent4>
        <a:srgbClr val="4B6C27"/>
      </a:accent4>
      <a:accent5>
        <a:srgbClr val="731624"/>
      </a:accent5>
      <a:accent6>
        <a:srgbClr val="08468A"/>
      </a:accent6>
      <a:hlink>
        <a:srgbClr val="3F150C"/>
      </a:hlink>
      <a:folHlink>
        <a:srgbClr val="E3B4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3_Office Theme">
  <a:themeElements>
    <a:clrScheme name="Etihad_New_Brand_Colors_2014">
      <a:dk1>
        <a:srgbClr val="1C0010"/>
      </a:dk1>
      <a:lt1>
        <a:srgbClr val="B68116"/>
      </a:lt1>
      <a:dk2>
        <a:srgbClr val="FCFBF3"/>
      </a:dk2>
      <a:lt2>
        <a:srgbClr val="FFFFFE"/>
      </a:lt2>
      <a:accent1>
        <a:srgbClr val="E3B40F"/>
      </a:accent1>
      <a:accent2>
        <a:srgbClr val="3D3430"/>
      </a:accent2>
      <a:accent3>
        <a:srgbClr val="5E0C53"/>
      </a:accent3>
      <a:accent4>
        <a:srgbClr val="4B6C27"/>
      </a:accent4>
      <a:accent5>
        <a:srgbClr val="731624"/>
      </a:accent5>
      <a:accent6>
        <a:srgbClr val="08468A"/>
      </a:accent6>
      <a:hlink>
        <a:srgbClr val="3F150C"/>
      </a:hlink>
      <a:folHlink>
        <a:srgbClr val="E3B4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2</TotalTime>
  <Words>206</Words>
  <Application>Microsoft Office PowerPoint</Application>
  <PresentationFormat>On-screen Show (16:9)</PresentationFormat>
  <Paragraphs>50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1_Office Theme</vt:lpstr>
      <vt:lpstr>5_Office Theme</vt:lpstr>
      <vt:lpstr>6_Office Theme</vt:lpstr>
      <vt:lpstr>7_Office Theme</vt:lpstr>
      <vt:lpstr>8_Office Theme</vt:lpstr>
      <vt:lpstr>11_Office Theme</vt:lpstr>
      <vt:lpstr>Office Theme</vt:lpstr>
      <vt:lpstr>12_Office Theme</vt:lpstr>
      <vt:lpstr>3_Office Theme</vt:lpstr>
      <vt:lpstr>141030 Hogan-Douglas Meeting v0.4</vt:lpstr>
      <vt:lpstr>think-cell Slide</vt:lpstr>
      <vt:lpstr>PowerPoint Presentation</vt:lpstr>
      <vt:lpstr>SIGNIFICANT INVESTMENT: FLEET</vt:lpstr>
      <vt:lpstr>PowerPoint Presentation</vt:lpstr>
      <vt:lpstr>Etihad Airways</vt:lpstr>
      <vt:lpstr>Solutions for achieving a higher level of safety</vt:lpstr>
      <vt:lpstr>Roadmap to our Success</vt:lpstr>
      <vt:lpstr>Guide to excellence</vt:lpstr>
      <vt:lpstr>PowerPoint Presentation</vt:lpstr>
    </vt:vector>
  </TitlesOfParts>
  <Company>Etihad Airways PJS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stair Bulloch</dc:creator>
  <cp:lastModifiedBy>Exsup</cp:lastModifiedBy>
  <cp:revision>113</cp:revision>
  <cp:lastPrinted>2015-04-27T14:15:25Z</cp:lastPrinted>
  <dcterms:created xsi:type="dcterms:W3CDTF">2015-04-27T08:14:51Z</dcterms:created>
  <dcterms:modified xsi:type="dcterms:W3CDTF">2015-05-28T08:48:55Z</dcterms:modified>
</cp:coreProperties>
</file>